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3"/>
  </p:notesMasterIdLst>
  <p:sldIdLst>
    <p:sldId id="256" r:id="rId2"/>
    <p:sldId id="257" r:id="rId3"/>
    <p:sldId id="258" r:id="rId4"/>
    <p:sldId id="2145705951" r:id="rId5"/>
    <p:sldId id="2145705952" r:id="rId6"/>
    <p:sldId id="2145705953" r:id="rId7"/>
    <p:sldId id="2145705957" r:id="rId8"/>
    <p:sldId id="2145705954" r:id="rId9"/>
    <p:sldId id="2145705955" r:id="rId10"/>
    <p:sldId id="2145705956" r:id="rId11"/>
    <p:sldId id="309" r:id="rId12"/>
    <p:sldId id="310" r:id="rId13"/>
    <p:sldId id="311" r:id="rId14"/>
    <p:sldId id="312" r:id="rId15"/>
    <p:sldId id="313" r:id="rId16"/>
    <p:sldId id="314" r:id="rId17"/>
    <p:sldId id="315" r:id="rId18"/>
    <p:sldId id="316" r:id="rId19"/>
    <p:sldId id="317" r:id="rId20"/>
    <p:sldId id="318" r:id="rId21"/>
    <p:sldId id="319" r:id="rId22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B41"/>
    <a:srgbClr val="579DFF"/>
    <a:srgbClr val="C0CAF3"/>
    <a:srgbClr val="C9EA00"/>
    <a:srgbClr val="EAE100"/>
    <a:srgbClr val="8C9BE5"/>
    <a:srgbClr val="AB9EC6"/>
    <a:srgbClr val="80B1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80" autoAdjust="0"/>
    <p:restoredTop sz="95373" autoAdjust="0"/>
  </p:normalViewPr>
  <p:slideViewPr>
    <p:cSldViewPr snapToGrid="0">
      <p:cViewPr varScale="1">
        <p:scale>
          <a:sx n="83" d="100"/>
          <a:sy n="83" d="100"/>
        </p:scale>
        <p:origin x="396" y="50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7" name="Google Shape;19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0F138-E40B-4076-FE6B-803400172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C38F2-1C28-6B57-7165-F746022EF1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953B64-7516-4533-E7EC-50A93A1449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6BC05A-8E84-35C1-579F-EBD2662937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42473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2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2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4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0.jp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20.jp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52FD1FC-FC38-07DA-C4FD-547999F7DCB7}"/>
              </a:ext>
            </a:extLst>
          </p:cNvPr>
          <p:cNvGrpSpPr/>
          <p:nvPr/>
        </p:nvGrpSpPr>
        <p:grpSpPr>
          <a:xfrm>
            <a:off x="672890" y="3151310"/>
            <a:ext cx="8682866" cy="2608690"/>
            <a:chOff x="390930" y="5155098"/>
            <a:chExt cx="8682866" cy="2608690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3CF40D78-51E1-8C10-1E3E-C45641279F14}"/>
                </a:ext>
              </a:extLst>
            </p:cNvPr>
            <p:cNvSpPr/>
            <p:nvPr/>
          </p:nvSpPr>
          <p:spPr>
            <a:xfrm>
              <a:off x="3514476" y="5155098"/>
              <a:ext cx="5559320" cy="260869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6C4DD0E2-20FE-0706-B6A2-98C3C750A5CE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>
              <a:off x="1491181" y="5748852"/>
              <a:ext cx="2023295" cy="71059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F67439C-DE74-D10D-C774-D9ED3DC8914F}"/>
                </a:ext>
              </a:extLst>
            </p:cNvPr>
            <p:cNvSpPr/>
            <p:nvPr/>
          </p:nvSpPr>
          <p:spPr>
            <a:xfrm>
              <a:off x="390930" y="559620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Google Shape;225;g370fc456c4b_0_4">
              <a:extLst>
                <a:ext uri="{FF2B5EF4-FFF2-40B4-BE49-F238E27FC236}">
                  <a16:creationId xmlns:a16="http://schemas.microsoft.com/office/drawing/2014/main" id="{A957BD9B-3768-9E7A-585A-D7A66A61E931}"/>
                </a:ext>
              </a:extLst>
            </p:cNvPr>
            <p:cNvSpPr txBox="1"/>
            <p:nvPr/>
          </p:nvSpPr>
          <p:spPr>
            <a:xfrm>
              <a:off x="407154" y="554638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4484536" y="1716022"/>
            <a:ext cx="3876588" cy="913517"/>
            <a:chOff x="4289643" y="4632868"/>
            <a:chExt cx="3876588" cy="913517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4289643" y="5254529"/>
              <a:ext cx="2011680" cy="2918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endCxn id="30" idx="3"/>
            </p:cNvCxnSpPr>
            <p:nvPr/>
          </p:nvCxnSpPr>
          <p:spPr>
            <a:xfrm flipH="1">
              <a:off x="6301323" y="4858573"/>
              <a:ext cx="747422" cy="54188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7065980" y="4682684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Google Shape;225;g370fc456c4b_0_4">
              <a:extLst>
                <a:ext uri="{FF2B5EF4-FFF2-40B4-BE49-F238E27FC236}">
                  <a16:creationId xmlns:a16="http://schemas.microsoft.com/office/drawing/2014/main" id="{3DAAE064-01CC-C2A7-7773-B66DC4A2EBEF}"/>
                </a:ext>
              </a:extLst>
            </p:cNvPr>
            <p:cNvSpPr txBox="1"/>
            <p:nvPr/>
          </p:nvSpPr>
          <p:spPr>
            <a:xfrm>
              <a:off x="7082204" y="4632868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877D39A-723C-3D8D-5A8A-2CD99A6FFB61}"/>
              </a:ext>
            </a:extLst>
          </p:cNvPr>
          <p:cNvGrpSpPr/>
          <p:nvPr/>
        </p:nvGrpSpPr>
        <p:grpSpPr>
          <a:xfrm>
            <a:off x="8446623" y="2694202"/>
            <a:ext cx="2951479" cy="389309"/>
            <a:chOff x="4783420" y="5177968"/>
            <a:chExt cx="2951479" cy="389309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72C9826E-25C1-101A-B95E-C4D1D8AABEDF}"/>
                </a:ext>
              </a:extLst>
            </p:cNvPr>
            <p:cNvSpPr/>
            <p:nvPr/>
          </p:nvSpPr>
          <p:spPr>
            <a:xfrm>
              <a:off x="6283555" y="5229989"/>
              <a:ext cx="1451344" cy="3372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EE18B70E-B8B3-D79A-8ED4-1F7781AC09A9}"/>
                </a:ext>
              </a:extLst>
            </p:cNvPr>
            <p:cNvCxnSpPr>
              <a:cxnSpLocks/>
              <a:endCxn id="62" idx="1"/>
            </p:cNvCxnSpPr>
            <p:nvPr/>
          </p:nvCxnSpPr>
          <p:spPr>
            <a:xfrm>
              <a:off x="5518011" y="5398633"/>
              <a:ext cx="765544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C171DA9B-34B7-8725-C271-D7055EAC43AE}"/>
                </a:ext>
              </a:extLst>
            </p:cNvPr>
            <p:cNvSpPr/>
            <p:nvPr/>
          </p:nvSpPr>
          <p:spPr>
            <a:xfrm>
              <a:off x="4783420" y="5227784"/>
              <a:ext cx="69521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Google Shape;225;g370fc456c4b_0_4">
              <a:extLst>
                <a:ext uri="{FF2B5EF4-FFF2-40B4-BE49-F238E27FC236}">
                  <a16:creationId xmlns:a16="http://schemas.microsoft.com/office/drawing/2014/main" id="{AE7717E3-2547-A490-C707-46A23975180F}"/>
                </a:ext>
              </a:extLst>
            </p:cNvPr>
            <p:cNvSpPr txBox="1"/>
            <p:nvPr/>
          </p:nvSpPr>
          <p:spPr>
            <a:xfrm>
              <a:off x="4799644" y="5177968"/>
              <a:ext cx="678993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noProof="1"/>
              <a:t>bbv Software Services AG  |  21/07/2025</a:t>
            </a:r>
          </a:p>
        </p:txBody>
      </p:sp>
      <p:sp>
        <p:nvSpPr>
          <p:cNvPr id="201" name="Google Shape;201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noProof="1"/>
              <a:t>FUNCTIONS IN THE TRELLO SYSTEM</a:t>
            </a:r>
          </a:p>
        </p:txBody>
      </p:sp>
      <p:sp>
        <p:nvSpPr>
          <p:cNvPr id="202" name="Google Shape;202;p2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</a:pPr>
            <a:endParaRPr lang="en-US" noProof="1"/>
          </a:p>
        </p:txBody>
      </p:sp>
      <p:grpSp>
        <p:nvGrpSpPr>
          <p:cNvPr id="203" name="Google Shape;203;p2"/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204" name="Google Shape;204;p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" name="Google Shape;205;p2"/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206" name="Google Shape;206;p2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07" name="Google Shape;207;p2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767AFE-8F07-8D89-A000-C14FF9A5FAF9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C55979-2A8E-F154-0AEC-D418BE761B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007885"/>
            <a:ext cx="12192000" cy="3120887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 and UI in the Trello System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a simple table or database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305154" y="1826883"/>
            <a:ext cx="4877419" cy="3204232"/>
          </a:xfrm>
        </p:spPr>
        <p:txBody>
          <a:bodyPr wrap="square" anchor="t">
            <a:normAutofit/>
          </a:bodyPr>
          <a:lstStyle/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Create board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dd cards to represent 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265" y="1271551"/>
            <a:ext cx="7004039" cy="431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7CE13F6-9C0A-1C92-35AD-B37EA380E7D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IN TRELLO SYSTEM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C0D8BF-5625-2F6F-24CC-F8475F6FD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23192"/>
          </a:xfrm>
          <a:prstGeom prst="rect">
            <a:avLst/>
          </a:prstGeom>
        </p:spPr>
      </p:pic>
      <p:sp>
        <p:nvSpPr>
          <p:cNvPr id="16" name="Google Shape;229;g370fc456c4b_0_4">
            <a:extLst>
              <a:ext uri="{FF2B5EF4-FFF2-40B4-BE49-F238E27FC236}">
                <a16:creationId xmlns:a16="http://schemas.microsoft.com/office/drawing/2014/main" id="{6F82F4D1-5D21-5A69-29D7-0E253ED16537}"/>
              </a:ext>
            </a:extLst>
          </p:cNvPr>
          <p:cNvSpPr/>
          <p:nvPr/>
        </p:nvSpPr>
        <p:spPr>
          <a:xfrm>
            <a:off x="5536317" y="2079846"/>
            <a:ext cx="1628240" cy="885991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17" name="Google Shape;230;g370fc456c4b_0_4">
            <a:extLst>
              <a:ext uri="{FF2B5EF4-FFF2-40B4-BE49-F238E27FC236}">
                <a16:creationId xmlns:a16="http://schemas.microsoft.com/office/drawing/2014/main" id="{11DF7370-F5AF-E01F-56CD-5D206F152197}"/>
              </a:ext>
            </a:extLst>
          </p:cNvPr>
          <p:cNvCxnSpPr>
            <a:cxnSpLocks/>
            <a:endCxn id="16" idx="3"/>
          </p:cNvCxnSpPr>
          <p:nvPr/>
        </p:nvCxnSpPr>
        <p:spPr>
          <a:xfrm flipH="1">
            <a:off x="7164557" y="2522842"/>
            <a:ext cx="1143000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3F79E29-1DAF-7A97-CF15-92A4FE7CF064}"/>
              </a:ext>
            </a:extLst>
          </p:cNvPr>
          <p:cNvSpPr/>
          <p:nvPr/>
        </p:nvSpPr>
        <p:spPr>
          <a:xfrm>
            <a:off x="8327836" y="2373448"/>
            <a:ext cx="689817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Google Shape;225;g370fc456c4b_0_4">
            <a:extLst>
              <a:ext uri="{FF2B5EF4-FFF2-40B4-BE49-F238E27FC236}">
                <a16:creationId xmlns:a16="http://schemas.microsoft.com/office/drawing/2014/main" id="{57AF7BBB-76B6-CE65-88F8-1C182723F141}"/>
              </a:ext>
            </a:extLst>
          </p:cNvPr>
          <p:cNvSpPr txBox="1"/>
          <p:nvPr/>
        </p:nvSpPr>
        <p:spPr>
          <a:xfrm>
            <a:off x="8344060" y="2323632"/>
            <a:ext cx="774708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</a:p>
        </p:txBody>
      </p:sp>
      <p:sp>
        <p:nvSpPr>
          <p:cNvPr id="20" name="Google Shape;225;g370fc456c4b_0_4">
            <a:extLst>
              <a:ext uri="{FF2B5EF4-FFF2-40B4-BE49-F238E27FC236}">
                <a16:creationId xmlns:a16="http://schemas.microsoft.com/office/drawing/2014/main" id="{ABA535F3-E55A-A3FF-72C9-9FAB44DB8AD8}"/>
              </a:ext>
            </a:extLst>
          </p:cNvPr>
          <p:cNvSpPr txBox="1"/>
          <p:nvPr/>
        </p:nvSpPr>
        <p:spPr>
          <a:xfrm>
            <a:off x="2696717" y="6097853"/>
            <a:ext cx="1434000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ame</a:t>
            </a:r>
          </a:p>
        </p:txBody>
      </p:sp>
      <p:sp>
        <p:nvSpPr>
          <p:cNvPr id="21" name="Google Shape;225;g370fc456c4b_0_4">
            <a:extLst>
              <a:ext uri="{FF2B5EF4-FFF2-40B4-BE49-F238E27FC236}">
                <a16:creationId xmlns:a16="http://schemas.microsoft.com/office/drawing/2014/main" id="{33920860-0122-8CB8-AF79-8A2D206F9712}"/>
              </a:ext>
            </a:extLst>
          </p:cNvPr>
          <p:cNvSpPr txBox="1"/>
          <p:nvPr/>
        </p:nvSpPr>
        <p:spPr>
          <a:xfrm>
            <a:off x="2863774" y="5731428"/>
            <a:ext cx="1434000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mage</a:t>
            </a:r>
          </a:p>
        </p:txBody>
      </p:sp>
      <p:sp>
        <p:nvSpPr>
          <p:cNvPr id="22" name="Google Shape;225;g370fc456c4b_0_4">
            <a:extLst>
              <a:ext uri="{FF2B5EF4-FFF2-40B4-BE49-F238E27FC236}">
                <a16:creationId xmlns:a16="http://schemas.microsoft.com/office/drawing/2014/main" id="{05B9BAB1-1596-3DA5-EABB-5E1C1AE97A97}"/>
              </a:ext>
            </a:extLst>
          </p:cNvPr>
          <p:cNvSpPr txBox="1"/>
          <p:nvPr/>
        </p:nvSpPr>
        <p:spPr>
          <a:xfrm>
            <a:off x="5208825" y="4983536"/>
            <a:ext cx="1434000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0659" y="1529725"/>
            <a:ext cx="3291333" cy="499600"/>
            <a:chOff x="3900659" y="1529725"/>
            <a:chExt cx="3291333" cy="499600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00659" y="1737725"/>
              <a:ext cx="1262947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3" y="1579541"/>
              <a:ext cx="162824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Google Shape;225;g370fc456c4b_0_4">
              <a:extLst>
                <a:ext uri="{FF2B5EF4-FFF2-40B4-BE49-F238E27FC236}">
                  <a16:creationId xmlns:a16="http://schemas.microsoft.com/office/drawing/2014/main" id="{F23EA5A7-708C-1806-64FC-AB82F601773C}"/>
                </a:ext>
              </a:extLst>
            </p:cNvPr>
            <p:cNvSpPr txBox="1"/>
            <p:nvPr/>
          </p:nvSpPr>
          <p:spPr>
            <a:xfrm>
              <a:off x="5536317" y="1529725"/>
              <a:ext cx="1655675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</a:p>
          </p:txBody>
        </p:sp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44347FC-1EF3-D999-D3FC-A258BF6EFDB3}"/>
              </a:ext>
            </a:extLst>
          </p:cNvPr>
          <p:cNvSpPr/>
          <p:nvPr/>
        </p:nvSpPr>
        <p:spPr>
          <a:xfrm>
            <a:off x="11381430" y="1522751"/>
            <a:ext cx="565282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Google Shape;225;g370fc456c4b_0_4">
            <a:extLst>
              <a:ext uri="{FF2B5EF4-FFF2-40B4-BE49-F238E27FC236}">
                <a16:creationId xmlns:a16="http://schemas.microsoft.com/office/drawing/2014/main" id="{D03E3EB7-55F7-976C-8C02-C81D3864CABE}"/>
              </a:ext>
            </a:extLst>
          </p:cNvPr>
          <p:cNvSpPr txBox="1"/>
          <p:nvPr/>
        </p:nvSpPr>
        <p:spPr>
          <a:xfrm>
            <a:off x="11389541" y="1462958"/>
            <a:ext cx="631125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</a:p>
        </p:txBody>
      </p:sp>
      <p:sp>
        <p:nvSpPr>
          <p:cNvPr id="29" name="Google Shape;229;g370fc456c4b_0_4">
            <a:extLst>
              <a:ext uri="{FF2B5EF4-FFF2-40B4-BE49-F238E27FC236}">
                <a16:creationId xmlns:a16="http://schemas.microsoft.com/office/drawing/2014/main" id="{18AE19AC-DF93-9C6C-6403-D605815EE76C}"/>
              </a:ext>
            </a:extLst>
          </p:cNvPr>
          <p:cNvSpPr/>
          <p:nvPr/>
        </p:nvSpPr>
        <p:spPr>
          <a:xfrm>
            <a:off x="6533083" y="3981616"/>
            <a:ext cx="543455" cy="180892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0" name="Google Shape;230;g370fc456c4b_0_4">
            <a:extLst>
              <a:ext uri="{FF2B5EF4-FFF2-40B4-BE49-F238E27FC236}">
                <a16:creationId xmlns:a16="http://schemas.microsoft.com/office/drawing/2014/main" id="{02D7C03D-C185-D25C-04FD-D368EFD7D87E}"/>
              </a:ext>
            </a:extLst>
          </p:cNvPr>
          <p:cNvCxnSpPr>
            <a:cxnSpLocks/>
            <a:endCxn id="29" idx="2"/>
          </p:cNvCxnSpPr>
          <p:nvPr/>
        </p:nvCxnSpPr>
        <p:spPr>
          <a:xfrm flipH="1" flipV="1">
            <a:off x="6804811" y="4162508"/>
            <a:ext cx="172336" cy="374716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Google Shape;225;g370fc456c4b_0_4">
            <a:extLst>
              <a:ext uri="{FF2B5EF4-FFF2-40B4-BE49-F238E27FC236}">
                <a16:creationId xmlns:a16="http://schemas.microsoft.com/office/drawing/2014/main" id="{D47045BF-C13B-3318-3418-B02F95FB176D}"/>
              </a:ext>
            </a:extLst>
          </p:cNvPr>
          <p:cNvSpPr txBox="1"/>
          <p:nvPr/>
        </p:nvSpPr>
        <p:spPr>
          <a:xfrm>
            <a:off x="5523154" y="3205891"/>
            <a:ext cx="1612016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96324680-2009-F7E3-879A-C925DDE3115C}"/>
              </a:ext>
            </a:extLst>
          </p:cNvPr>
          <p:cNvSpPr/>
          <p:nvPr/>
        </p:nvSpPr>
        <p:spPr>
          <a:xfrm>
            <a:off x="6428557" y="4562885"/>
            <a:ext cx="1064733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Google Shape;225;g370fc456c4b_0_4">
            <a:extLst>
              <a:ext uri="{FF2B5EF4-FFF2-40B4-BE49-F238E27FC236}">
                <a16:creationId xmlns:a16="http://schemas.microsoft.com/office/drawing/2014/main" id="{B8E0DC54-13E0-7860-B62B-DA50E0027C83}"/>
              </a:ext>
            </a:extLst>
          </p:cNvPr>
          <p:cNvSpPr txBox="1"/>
          <p:nvPr/>
        </p:nvSpPr>
        <p:spPr>
          <a:xfrm>
            <a:off x="6444780" y="4513069"/>
            <a:ext cx="1144573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sTemplate</a:t>
            </a:r>
          </a:p>
        </p:txBody>
      </p: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23E36F2C-65A2-1B73-7961-A2038790EC79}"/>
              </a:ext>
            </a:extLst>
          </p:cNvPr>
          <p:cNvSpPr/>
          <p:nvPr/>
        </p:nvSpPr>
        <p:spPr>
          <a:xfrm>
            <a:off x="9495038" y="4898091"/>
            <a:ext cx="838021" cy="28544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Google Shape;225;g370fc456c4b_0_4">
            <a:extLst>
              <a:ext uri="{FF2B5EF4-FFF2-40B4-BE49-F238E27FC236}">
                <a16:creationId xmlns:a16="http://schemas.microsoft.com/office/drawing/2014/main" id="{665EC262-FE34-3C30-433F-499A3637A653}"/>
              </a:ext>
            </a:extLst>
          </p:cNvPr>
          <p:cNvSpPr txBox="1"/>
          <p:nvPr/>
        </p:nvSpPr>
        <p:spPr>
          <a:xfrm>
            <a:off x="9466479" y="4843469"/>
            <a:ext cx="895138" cy="315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</a:p>
        </p:txBody>
      </p:sp>
      <p:sp>
        <p:nvSpPr>
          <p:cNvPr id="39" name="Google Shape;229;g370fc456c4b_0_4">
            <a:extLst>
              <a:ext uri="{FF2B5EF4-FFF2-40B4-BE49-F238E27FC236}">
                <a16:creationId xmlns:a16="http://schemas.microsoft.com/office/drawing/2014/main" id="{38EC5DF1-153A-E016-784B-A49916FCCA73}"/>
              </a:ext>
            </a:extLst>
          </p:cNvPr>
          <p:cNvSpPr/>
          <p:nvPr/>
        </p:nvSpPr>
        <p:spPr>
          <a:xfrm>
            <a:off x="7968409" y="5271714"/>
            <a:ext cx="842840" cy="249263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0" name="Google Shape;230;g370fc456c4b_0_4">
            <a:extLst>
              <a:ext uri="{FF2B5EF4-FFF2-40B4-BE49-F238E27FC236}">
                <a16:creationId xmlns:a16="http://schemas.microsoft.com/office/drawing/2014/main" id="{C6683120-2D6A-4123-6BAD-DEAF5162B968}"/>
              </a:ext>
            </a:extLst>
          </p:cNvPr>
          <p:cNvCxnSpPr>
            <a:cxnSpLocks/>
            <a:stCxn id="37" idx="1"/>
            <a:endCxn id="39" idx="3"/>
          </p:cNvCxnSpPr>
          <p:nvPr/>
        </p:nvCxnSpPr>
        <p:spPr>
          <a:xfrm flipH="1">
            <a:off x="8811249" y="5040813"/>
            <a:ext cx="683789" cy="35553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1" name="Google Shape;229;g370fc456c4b_0_4">
            <a:extLst>
              <a:ext uri="{FF2B5EF4-FFF2-40B4-BE49-F238E27FC236}">
                <a16:creationId xmlns:a16="http://schemas.microsoft.com/office/drawing/2014/main" id="{9A523632-1EF5-B4D6-B00B-587A481988B1}"/>
              </a:ext>
            </a:extLst>
          </p:cNvPr>
          <p:cNvSpPr/>
          <p:nvPr/>
        </p:nvSpPr>
        <p:spPr>
          <a:xfrm>
            <a:off x="1692181" y="2833314"/>
            <a:ext cx="588396" cy="189791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2" name="Google Shape;230;g370fc456c4b_0_4">
            <a:extLst>
              <a:ext uri="{FF2B5EF4-FFF2-40B4-BE49-F238E27FC236}">
                <a16:creationId xmlns:a16="http://schemas.microsoft.com/office/drawing/2014/main" id="{03A689DF-D982-7464-25EC-0D2ECC09A06C}"/>
              </a:ext>
            </a:extLst>
          </p:cNvPr>
          <p:cNvCxnSpPr>
            <a:cxnSpLocks/>
          </p:cNvCxnSpPr>
          <p:nvPr/>
        </p:nvCxnSpPr>
        <p:spPr>
          <a:xfrm flipH="1">
            <a:off x="966911" y="2928209"/>
            <a:ext cx="708967" cy="334011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3" name="Google Shape;229;g370fc456c4b_0_4">
            <a:extLst>
              <a:ext uri="{FF2B5EF4-FFF2-40B4-BE49-F238E27FC236}">
                <a16:creationId xmlns:a16="http://schemas.microsoft.com/office/drawing/2014/main" id="{2498DF70-E3C5-0A73-31CF-113B0B70697F}"/>
              </a:ext>
            </a:extLst>
          </p:cNvPr>
          <p:cNvSpPr/>
          <p:nvPr/>
        </p:nvSpPr>
        <p:spPr>
          <a:xfrm>
            <a:off x="7248875" y="3614248"/>
            <a:ext cx="1533218" cy="62379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44" name="Google Shape;229;g370fc456c4b_0_4">
            <a:extLst>
              <a:ext uri="{FF2B5EF4-FFF2-40B4-BE49-F238E27FC236}">
                <a16:creationId xmlns:a16="http://schemas.microsoft.com/office/drawing/2014/main" id="{1D25B31B-2530-3653-B7D9-0CE571B61D99}"/>
              </a:ext>
            </a:extLst>
          </p:cNvPr>
          <p:cNvSpPr/>
          <p:nvPr/>
        </p:nvSpPr>
        <p:spPr>
          <a:xfrm>
            <a:off x="7282742" y="4274293"/>
            <a:ext cx="306611" cy="163853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B7BAF18-1F4B-C838-8C84-61EED0482B12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4AF4DA-433C-EB2A-2BE1-1FF9FE9E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585875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291549" y="2763671"/>
            <a:ext cx="1953534" cy="337288"/>
            <a:chOff x="4131428" y="1700415"/>
            <a:chExt cx="1953534" cy="3372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4131428" y="1831019"/>
              <a:ext cx="561892" cy="1537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endCxn id="6" idx="3"/>
            </p:cNvCxnSpPr>
            <p:nvPr/>
          </p:nvCxnSpPr>
          <p:spPr>
            <a:xfrm flipH="1">
              <a:off x="4693320" y="1907882"/>
              <a:ext cx="2736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984869" y="1750231"/>
              <a:ext cx="110009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Google Shape;225;g370fc456c4b_0_4">
              <a:extLst>
                <a:ext uri="{FF2B5EF4-FFF2-40B4-BE49-F238E27FC236}">
                  <a16:creationId xmlns:a16="http://schemas.microsoft.com/office/drawing/2014/main" id="{AE191378-EB32-26A0-2EF0-A293E4B36228}"/>
                </a:ext>
              </a:extLst>
            </p:cNvPr>
            <p:cNvSpPr txBox="1"/>
            <p:nvPr/>
          </p:nvSpPr>
          <p:spPr>
            <a:xfrm>
              <a:off x="5001094" y="1700415"/>
              <a:ext cx="108386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A61FD81-F1C6-C5CF-7F3C-42C683AEC5BD}"/>
              </a:ext>
            </a:extLst>
          </p:cNvPr>
          <p:cNvGrpSpPr/>
          <p:nvPr/>
        </p:nvGrpSpPr>
        <p:grpSpPr>
          <a:xfrm>
            <a:off x="2567763" y="1827885"/>
            <a:ext cx="1807535" cy="511278"/>
            <a:chOff x="2827840" y="1831019"/>
            <a:chExt cx="1807535" cy="511278"/>
          </a:xfrm>
        </p:grpSpPr>
        <p:sp>
          <p:nvSpPr>
            <p:cNvPr id="18" name="Google Shape;229;g370fc456c4b_0_4">
              <a:extLst>
                <a:ext uri="{FF2B5EF4-FFF2-40B4-BE49-F238E27FC236}">
                  <a16:creationId xmlns:a16="http://schemas.microsoft.com/office/drawing/2014/main" id="{C87A7065-2DC1-1445-A308-15CC7F9149E2}"/>
                </a:ext>
              </a:extLst>
            </p:cNvPr>
            <p:cNvSpPr/>
            <p:nvPr/>
          </p:nvSpPr>
          <p:spPr>
            <a:xfrm>
              <a:off x="4131428" y="1831019"/>
              <a:ext cx="503947" cy="5112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" name="Google Shape;230;g370fc456c4b_0_4">
              <a:extLst>
                <a:ext uri="{FF2B5EF4-FFF2-40B4-BE49-F238E27FC236}">
                  <a16:creationId xmlns:a16="http://schemas.microsoft.com/office/drawing/2014/main" id="{F711EE5F-CD49-4BBF-F40D-87E498F6FC47}"/>
                </a:ext>
              </a:extLst>
            </p:cNvPr>
            <p:cNvCxnSpPr>
              <a:cxnSpLocks/>
            </p:cNvCxnSpPr>
            <p:nvPr/>
          </p:nvCxnSpPr>
          <p:spPr>
            <a:xfrm>
              <a:off x="3588068" y="2086658"/>
              <a:ext cx="54336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B3C7B0AE-517B-3C5D-B8C2-9F6A0B95EC70}"/>
                </a:ext>
              </a:extLst>
            </p:cNvPr>
            <p:cNvSpPr/>
            <p:nvPr/>
          </p:nvSpPr>
          <p:spPr>
            <a:xfrm>
              <a:off x="2827840" y="1942922"/>
              <a:ext cx="7512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Google Shape;225;g370fc456c4b_0_4">
              <a:extLst>
                <a:ext uri="{FF2B5EF4-FFF2-40B4-BE49-F238E27FC236}">
                  <a16:creationId xmlns:a16="http://schemas.microsoft.com/office/drawing/2014/main" id="{F9376DAC-727B-5AFF-3196-61BBC86FB3E4}"/>
                </a:ext>
              </a:extLst>
            </p:cNvPr>
            <p:cNvSpPr txBox="1"/>
            <p:nvPr/>
          </p:nvSpPr>
          <p:spPr>
            <a:xfrm>
              <a:off x="2870765" y="1869059"/>
              <a:ext cx="699410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ag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9F8677B-38A9-2BDF-A7D7-C21D763F9ABF}"/>
              </a:ext>
            </a:extLst>
          </p:cNvPr>
          <p:cNvGrpSpPr/>
          <p:nvPr/>
        </p:nvGrpSpPr>
        <p:grpSpPr>
          <a:xfrm>
            <a:off x="4432604" y="1422118"/>
            <a:ext cx="2808299" cy="704856"/>
            <a:chOff x="4131428" y="1615589"/>
            <a:chExt cx="2808299" cy="704856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ABB52071-72A1-D80B-FE5B-704A6D8C4C4C}"/>
                </a:ext>
              </a:extLst>
            </p:cNvPr>
            <p:cNvSpPr/>
            <p:nvPr/>
          </p:nvSpPr>
          <p:spPr>
            <a:xfrm>
              <a:off x="4131428" y="2093833"/>
              <a:ext cx="1340043" cy="22661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05EADEF8-F05C-EA51-C429-6E0E36D5FD8C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5471471" y="1809141"/>
              <a:ext cx="368163" cy="39799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855C3CB6-EC35-D088-7E06-17581B1DE36A}"/>
                </a:ext>
              </a:extLst>
            </p:cNvPr>
            <p:cNvSpPr/>
            <p:nvPr/>
          </p:nvSpPr>
          <p:spPr>
            <a:xfrm>
              <a:off x="5839634" y="1665405"/>
              <a:ext cx="110009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Google Shape;225;g370fc456c4b_0_4">
              <a:extLst>
                <a:ext uri="{FF2B5EF4-FFF2-40B4-BE49-F238E27FC236}">
                  <a16:creationId xmlns:a16="http://schemas.microsoft.com/office/drawing/2014/main" id="{A7840BE7-EE12-D966-F099-AB8E28553614}"/>
                </a:ext>
              </a:extLst>
            </p:cNvPr>
            <p:cNvSpPr txBox="1"/>
            <p:nvPr/>
          </p:nvSpPr>
          <p:spPr>
            <a:xfrm>
              <a:off x="5855859" y="1615589"/>
              <a:ext cx="108386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308200" y="2139484"/>
            <a:ext cx="1155547" cy="599054"/>
            <a:chOff x="4007024" y="2093833"/>
            <a:chExt cx="1155547" cy="599054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H="1" flipV="1">
              <a:off x="4344250" y="2220471"/>
              <a:ext cx="147727" cy="1849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4007024" y="2405415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Google Shape;225;g370fc456c4b_0_4">
              <a:extLst>
                <a:ext uri="{FF2B5EF4-FFF2-40B4-BE49-F238E27FC236}">
                  <a16:creationId xmlns:a16="http://schemas.microsoft.com/office/drawing/2014/main" id="{03F9EC33-7366-FBB0-64B3-AB860D977BD0}"/>
                </a:ext>
              </a:extLst>
            </p:cNvPr>
            <p:cNvSpPr txBox="1"/>
            <p:nvPr/>
          </p:nvSpPr>
          <p:spPr>
            <a:xfrm>
              <a:off x="4007024" y="2326206"/>
              <a:ext cx="1155547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sz="1600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341496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Google Shape;225;g370fc456c4b_0_4">
            <a:extLst>
              <a:ext uri="{FF2B5EF4-FFF2-40B4-BE49-F238E27FC236}">
                <a16:creationId xmlns:a16="http://schemas.microsoft.com/office/drawing/2014/main" id="{9443D005-FB4A-E0F1-61AE-D97D10928D9B}"/>
              </a:ext>
            </a:extLst>
          </p:cNvPr>
          <p:cNvSpPr txBox="1"/>
          <p:nvPr/>
        </p:nvSpPr>
        <p:spPr>
          <a:xfrm>
            <a:off x="5670676" y="2172276"/>
            <a:ext cx="1384026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16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noProof="1">
              <a:solidFill>
                <a:srgbClr val="579DFF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5902379" y="1753431"/>
            <a:ext cx="17771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Google Shape;225;g370fc456c4b_0_4">
            <a:extLst>
              <a:ext uri="{FF2B5EF4-FFF2-40B4-BE49-F238E27FC236}">
                <a16:creationId xmlns:a16="http://schemas.microsoft.com/office/drawing/2014/main" id="{41181921-74BA-0B20-EE41-83E7211D4DA8}"/>
              </a:ext>
            </a:extLst>
          </p:cNvPr>
          <p:cNvSpPr txBox="1"/>
          <p:nvPr/>
        </p:nvSpPr>
        <p:spPr>
          <a:xfrm>
            <a:off x="5918603" y="1703615"/>
            <a:ext cx="1760892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1541409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 flipH="1">
            <a:off x="5423746" y="1912933"/>
            <a:ext cx="478633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79" name="Google Shape;229;g370fc456c4b_0_4">
            <a:extLst>
              <a:ext uri="{FF2B5EF4-FFF2-40B4-BE49-F238E27FC236}">
                <a16:creationId xmlns:a16="http://schemas.microsoft.com/office/drawing/2014/main" id="{F4FEBCBE-082C-86C3-59DE-19D8AD322BD3}"/>
              </a:ext>
            </a:extLst>
          </p:cNvPr>
          <p:cNvSpPr/>
          <p:nvPr/>
        </p:nvSpPr>
        <p:spPr>
          <a:xfrm>
            <a:off x="3882337" y="2250484"/>
            <a:ext cx="892421" cy="914135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80" name="Google Shape;229;g370fc456c4b_0_4">
            <a:extLst>
              <a:ext uri="{FF2B5EF4-FFF2-40B4-BE49-F238E27FC236}">
                <a16:creationId xmlns:a16="http://schemas.microsoft.com/office/drawing/2014/main" id="{9AF5BC69-9F7D-233C-5541-3AA2F2824E90}"/>
              </a:ext>
            </a:extLst>
          </p:cNvPr>
          <p:cNvSpPr/>
          <p:nvPr/>
        </p:nvSpPr>
        <p:spPr>
          <a:xfrm>
            <a:off x="3868010" y="3958536"/>
            <a:ext cx="2202511" cy="1130709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81" name="Google Shape;230;g370fc456c4b_0_4">
            <a:extLst>
              <a:ext uri="{FF2B5EF4-FFF2-40B4-BE49-F238E27FC236}">
                <a16:creationId xmlns:a16="http://schemas.microsoft.com/office/drawing/2014/main" id="{F355564D-787F-6642-E26A-29391E52CF92}"/>
              </a:ext>
            </a:extLst>
          </p:cNvPr>
          <p:cNvCxnSpPr>
            <a:cxnSpLocks/>
          </p:cNvCxnSpPr>
          <p:nvPr/>
        </p:nvCxnSpPr>
        <p:spPr>
          <a:xfrm flipV="1">
            <a:off x="3504778" y="4523890"/>
            <a:ext cx="350441" cy="245396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8EEC326-FE5B-0E4B-87E5-BA0A6E6C7827}"/>
              </a:ext>
            </a:extLst>
          </p:cNvPr>
          <p:cNvGrpSpPr/>
          <p:nvPr/>
        </p:nvGrpSpPr>
        <p:grpSpPr>
          <a:xfrm>
            <a:off x="3974733" y="5096038"/>
            <a:ext cx="2634532" cy="355118"/>
            <a:chOff x="3514477" y="5039900"/>
            <a:chExt cx="2634532" cy="355118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833036AF-6DA1-FD23-89DE-802CCC316AE1}"/>
                </a:ext>
              </a:extLst>
            </p:cNvPr>
            <p:cNvSpPr/>
            <p:nvPr/>
          </p:nvSpPr>
          <p:spPr>
            <a:xfrm>
              <a:off x="3514477" y="5155098"/>
              <a:ext cx="1264257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43141398-ED1C-DB87-5B61-7BB74D4BF73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78734" y="524842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DF4116D-95CA-295E-EF21-46A88B8E90D1}"/>
                </a:ext>
              </a:extLst>
            </p:cNvPr>
            <p:cNvSpPr/>
            <p:nvPr/>
          </p:nvSpPr>
          <p:spPr>
            <a:xfrm>
              <a:off x="5048758" y="508971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Google Shape;225;g370fc456c4b_0_4">
              <a:extLst>
                <a:ext uri="{FF2B5EF4-FFF2-40B4-BE49-F238E27FC236}">
                  <a16:creationId xmlns:a16="http://schemas.microsoft.com/office/drawing/2014/main" id="{7BA1C271-359B-7489-1734-834E87DD8829}"/>
                </a:ext>
              </a:extLst>
            </p:cNvPr>
            <p:cNvSpPr txBox="1"/>
            <p:nvPr/>
          </p:nvSpPr>
          <p:spPr>
            <a:xfrm>
              <a:off x="5064982" y="503990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723949" y="5836850"/>
            <a:ext cx="1701978" cy="355118"/>
            <a:chOff x="2235472" y="5051827"/>
            <a:chExt cx="1701978" cy="355118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endCxn id="88" idx="1"/>
            </p:cNvCxnSpPr>
            <p:nvPr/>
          </p:nvCxnSpPr>
          <p:spPr>
            <a:xfrm>
              <a:off x="3331747" y="5262898"/>
              <a:ext cx="18273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2235472" y="5101643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Google Shape;225;g370fc456c4b_0_4">
              <a:extLst>
                <a:ext uri="{FF2B5EF4-FFF2-40B4-BE49-F238E27FC236}">
                  <a16:creationId xmlns:a16="http://schemas.microsoft.com/office/drawing/2014/main" id="{EECD44CB-A32D-6AAD-D714-8B6750419BD8}"/>
                </a:ext>
              </a:extLst>
            </p:cNvPr>
            <p:cNvSpPr txBox="1"/>
            <p:nvPr/>
          </p:nvSpPr>
          <p:spPr>
            <a:xfrm>
              <a:off x="2251696" y="5051827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964A08F6-2893-A213-E555-DA78D21781FD}"/>
              </a:ext>
            </a:extLst>
          </p:cNvPr>
          <p:cNvGrpSpPr/>
          <p:nvPr/>
        </p:nvGrpSpPr>
        <p:grpSpPr>
          <a:xfrm>
            <a:off x="4425927" y="5842527"/>
            <a:ext cx="1761519" cy="355118"/>
            <a:chOff x="3514477" y="5041066"/>
            <a:chExt cx="1761519" cy="355118"/>
          </a:xfrm>
        </p:grpSpPr>
        <p:sp>
          <p:nvSpPr>
            <p:cNvPr id="93" name="Google Shape;229;g370fc456c4b_0_4">
              <a:extLst>
                <a:ext uri="{FF2B5EF4-FFF2-40B4-BE49-F238E27FC236}">
                  <a16:creationId xmlns:a16="http://schemas.microsoft.com/office/drawing/2014/main" id="{C00F6495-1CC1-A264-FB19-D6DE47A96FF7}"/>
                </a:ext>
              </a:extLst>
            </p:cNvPr>
            <p:cNvSpPr/>
            <p:nvPr/>
          </p:nvSpPr>
          <p:spPr>
            <a:xfrm>
              <a:off x="3514477" y="5162640"/>
              <a:ext cx="465311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4" name="Google Shape;230;g370fc456c4b_0_4">
              <a:extLst>
                <a:ext uri="{FF2B5EF4-FFF2-40B4-BE49-F238E27FC236}">
                  <a16:creationId xmlns:a16="http://schemas.microsoft.com/office/drawing/2014/main" id="{2E0E37B9-3EE5-0F4B-FE03-4D689CF52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13139D3E-1C9D-D7BF-611B-D6D91E80DE47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Google Shape;225;g370fc456c4b_0_4">
              <a:extLst>
                <a:ext uri="{FF2B5EF4-FFF2-40B4-BE49-F238E27FC236}">
                  <a16:creationId xmlns:a16="http://schemas.microsoft.com/office/drawing/2014/main" id="{ADC7C106-248C-FC88-B32E-C820BE68A9E3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2EAF277-3A9D-627E-5740-D472E40CDEC1}"/>
              </a:ext>
            </a:extLst>
          </p:cNvPr>
          <p:cNvGrpSpPr/>
          <p:nvPr/>
        </p:nvGrpSpPr>
        <p:grpSpPr>
          <a:xfrm>
            <a:off x="2309643" y="5354676"/>
            <a:ext cx="3592736" cy="501494"/>
            <a:chOff x="1870040" y="4969284"/>
            <a:chExt cx="3592736" cy="501494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E38FE07-A422-8FC4-A74B-5C78020CBC2B}"/>
                </a:ext>
              </a:extLst>
            </p:cNvPr>
            <p:cNvSpPr/>
            <p:nvPr/>
          </p:nvSpPr>
          <p:spPr>
            <a:xfrm>
              <a:off x="3514478" y="5174568"/>
              <a:ext cx="1948298" cy="29621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A73B4519-6122-F132-B254-83AFB3FA6E4D}"/>
                </a:ext>
              </a:extLst>
            </p:cNvPr>
            <p:cNvCxnSpPr>
              <a:cxnSpLocks/>
              <a:stCxn id="100" idx="3"/>
              <a:endCxn id="98" idx="1"/>
            </p:cNvCxnSpPr>
            <p:nvPr/>
          </p:nvCxnSpPr>
          <p:spPr>
            <a:xfrm>
              <a:off x="2966315" y="5171751"/>
              <a:ext cx="548163" cy="15092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A9F18237-F4C5-0806-A8FF-CB6EBC4723E2}"/>
                </a:ext>
              </a:extLst>
            </p:cNvPr>
            <p:cNvSpPr/>
            <p:nvPr/>
          </p:nvSpPr>
          <p:spPr>
            <a:xfrm>
              <a:off x="1870040" y="5019100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Google Shape;225;g370fc456c4b_0_4">
              <a:extLst>
                <a:ext uri="{FF2B5EF4-FFF2-40B4-BE49-F238E27FC236}">
                  <a16:creationId xmlns:a16="http://schemas.microsoft.com/office/drawing/2014/main" id="{CD8C5640-D974-195E-CD20-AE99056EB8B4}"/>
                </a:ext>
              </a:extLst>
            </p:cNvPr>
            <p:cNvSpPr txBox="1"/>
            <p:nvPr/>
          </p:nvSpPr>
          <p:spPr>
            <a:xfrm>
              <a:off x="1886264" y="4969284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3910577" y="3506956"/>
            <a:ext cx="3702133" cy="355118"/>
            <a:chOff x="3514477" y="5043705"/>
            <a:chExt cx="3702133" cy="35511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155098"/>
              <a:ext cx="2329878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53346" y="524813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6116359" y="509352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Google Shape;225;g370fc456c4b_0_4">
              <a:extLst>
                <a:ext uri="{FF2B5EF4-FFF2-40B4-BE49-F238E27FC236}">
                  <a16:creationId xmlns:a16="http://schemas.microsoft.com/office/drawing/2014/main" id="{EC0F61F3-2BA5-500A-C8BC-9AD50263B90F}"/>
                </a:ext>
              </a:extLst>
            </p:cNvPr>
            <p:cNvSpPr txBox="1"/>
            <p:nvPr/>
          </p:nvSpPr>
          <p:spPr>
            <a:xfrm>
              <a:off x="6132583" y="504370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0F60F5-CE61-3C1C-2EEF-68C1D4CD8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11B5EFF-087B-C317-EE86-2496106FE11F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0E7303-2EE5-BEC2-4B0F-FA79B0975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16BF11-1A7D-4865-7F4C-8AAB1ABC2F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098000"/>
            <a:ext cx="12228057" cy="689768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A8DC18D-EA57-4A65-FF4A-445CF93C2A15}"/>
              </a:ext>
            </a:extLst>
          </p:cNvPr>
          <p:cNvGrpSpPr/>
          <p:nvPr/>
        </p:nvGrpSpPr>
        <p:grpSpPr>
          <a:xfrm>
            <a:off x="2461008" y="1439107"/>
            <a:ext cx="1100251" cy="1498899"/>
            <a:chOff x="3226445" y="4121583"/>
            <a:chExt cx="1100251" cy="1498899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E299029F-01A6-1C5E-D757-E58A00C1651E}"/>
                </a:ext>
              </a:extLst>
            </p:cNvPr>
            <p:cNvSpPr/>
            <p:nvPr/>
          </p:nvSpPr>
          <p:spPr>
            <a:xfrm>
              <a:off x="3514477" y="5155097"/>
              <a:ext cx="479190" cy="4653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453A25F7-DF91-D8B0-BA50-63A57D056392}"/>
                </a:ext>
              </a:extLst>
            </p:cNvPr>
            <p:cNvCxnSpPr>
              <a:cxnSpLocks/>
            </p:cNvCxnSpPr>
            <p:nvPr/>
          </p:nvCxnSpPr>
          <p:spPr>
            <a:xfrm>
              <a:off x="3758178" y="4515252"/>
              <a:ext cx="0" cy="63984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5685869-8804-4367-577A-8534C55BF6B9}"/>
                </a:ext>
              </a:extLst>
            </p:cNvPr>
            <p:cNvSpPr/>
            <p:nvPr/>
          </p:nvSpPr>
          <p:spPr>
            <a:xfrm>
              <a:off x="3226445" y="417139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Google Shape;225;g370fc456c4b_0_4">
              <a:extLst>
                <a:ext uri="{FF2B5EF4-FFF2-40B4-BE49-F238E27FC236}">
                  <a16:creationId xmlns:a16="http://schemas.microsoft.com/office/drawing/2014/main" id="{F86F7E0F-A1B2-5B3B-94D7-0873EBF330B2}"/>
                </a:ext>
              </a:extLst>
            </p:cNvPr>
            <p:cNvSpPr txBox="1"/>
            <p:nvPr/>
          </p:nvSpPr>
          <p:spPr>
            <a:xfrm>
              <a:off x="3242669" y="4121583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3EC6699-C91C-212E-B8B1-11EFEBAD5824}"/>
              </a:ext>
            </a:extLst>
          </p:cNvPr>
          <p:cNvGrpSpPr/>
          <p:nvPr/>
        </p:nvGrpSpPr>
        <p:grpSpPr>
          <a:xfrm>
            <a:off x="3287483" y="2515038"/>
            <a:ext cx="3130026" cy="355118"/>
            <a:chOff x="3514476" y="5061816"/>
            <a:chExt cx="3130026" cy="355118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E321639E-9FCB-8051-766D-DC1262E3A0E2}"/>
                </a:ext>
              </a:extLst>
            </p:cNvPr>
            <p:cNvSpPr/>
            <p:nvPr/>
          </p:nvSpPr>
          <p:spPr>
            <a:xfrm>
              <a:off x="3514476" y="5155098"/>
              <a:ext cx="1610515" cy="2183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621A5E58-6A8B-8317-2AD1-37D61883D509}"/>
                </a:ext>
              </a:extLst>
            </p:cNvPr>
            <p:cNvCxnSpPr>
              <a:cxnSpLocks/>
              <a:stCxn id="19" idx="1"/>
              <a:endCxn id="17" idx="3"/>
            </p:cNvCxnSpPr>
            <p:nvPr/>
          </p:nvCxnSpPr>
          <p:spPr>
            <a:xfrm flipH="1">
              <a:off x="5124991" y="5264283"/>
              <a:ext cx="41926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19DAE58-843B-ABB5-DBBC-A80693FC7BE2}"/>
                </a:ext>
              </a:extLst>
            </p:cNvPr>
            <p:cNvSpPr/>
            <p:nvPr/>
          </p:nvSpPr>
          <p:spPr>
            <a:xfrm>
              <a:off x="5544251" y="511163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Google Shape;225;g370fc456c4b_0_4">
              <a:extLst>
                <a:ext uri="{FF2B5EF4-FFF2-40B4-BE49-F238E27FC236}">
                  <a16:creationId xmlns:a16="http://schemas.microsoft.com/office/drawing/2014/main" id="{224687C1-6A70-B8B9-A9DE-5D1E0EC59A06}"/>
                </a:ext>
              </a:extLst>
            </p:cNvPr>
            <p:cNvSpPr txBox="1"/>
            <p:nvPr/>
          </p:nvSpPr>
          <p:spPr>
            <a:xfrm>
              <a:off x="5560475" y="506181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783F008-CE2C-1814-52EA-2383754A8D0B}"/>
              </a:ext>
            </a:extLst>
          </p:cNvPr>
          <p:cNvGrpSpPr/>
          <p:nvPr/>
        </p:nvGrpSpPr>
        <p:grpSpPr>
          <a:xfrm>
            <a:off x="1094525" y="4600197"/>
            <a:ext cx="3743289" cy="381156"/>
            <a:chOff x="1765466" y="5131320"/>
            <a:chExt cx="3743289" cy="381156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56D8CA4B-1FA7-520A-EC3F-3353CB3F4866}"/>
                </a:ext>
              </a:extLst>
            </p:cNvPr>
            <p:cNvSpPr/>
            <p:nvPr/>
          </p:nvSpPr>
          <p:spPr>
            <a:xfrm>
              <a:off x="3514476" y="5155098"/>
              <a:ext cx="1994279" cy="3573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7214E54F-DE37-5A29-CE81-BAF0227284AA}"/>
                </a:ext>
              </a:extLst>
            </p:cNvPr>
            <p:cNvCxnSpPr>
              <a:cxnSpLocks/>
              <a:endCxn id="25" idx="1"/>
            </p:cNvCxnSpPr>
            <p:nvPr/>
          </p:nvCxnSpPr>
          <p:spPr>
            <a:xfrm>
              <a:off x="2917184" y="5333787"/>
              <a:ext cx="597292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D0697A0-3660-2691-21C3-571112FEE91D}"/>
                </a:ext>
              </a:extLst>
            </p:cNvPr>
            <p:cNvSpPr/>
            <p:nvPr/>
          </p:nvSpPr>
          <p:spPr>
            <a:xfrm>
              <a:off x="1765466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Google Shape;225;g370fc456c4b_0_4">
              <a:extLst>
                <a:ext uri="{FF2B5EF4-FFF2-40B4-BE49-F238E27FC236}">
                  <a16:creationId xmlns:a16="http://schemas.microsoft.com/office/drawing/2014/main" id="{E140C43C-5515-5936-09CA-E5E70F7BD47F}"/>
                </a:ext>
              </a:extLst>
            </p:cNvPr>
            <p:cNvSpPr txBox="1"/>
            <p:nvPr/>
          </p:nvSpPr>
          <p:spPr>
            <a:xfrm>
              <a:off x="1781690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12B4ECC-298E-ED88-1E4A-59F9B3E395AA}"/>
              </a:ext>
            </a:extLst>
          </p:cNvPr>
          <p:cNvGrpSpPr/>
          <p:nvPr/>
        </p:nvGrpSpPr>
        <p:grpSpPr>
          <a:xfrm>
            <a:off x="1094525" y="4990351"/>
            <a:ext cx="3127618" cy="355118"/>
            <a:chOff x="1602433" y="5131320"/>
            <a:chExt cx="3127618" cy="355118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ED731398-A7B4-ACFC-87EB-71FEAD92319D}"/>
                </a:ext>
              </a:extLst>
            </p:cNvPr>
            <p:cNvSpPr/>
            <p:nvPr/>
          </p:nvSpPr>
          <p:spPr>
            <a:xfrm>
              <a:off x="3514476" y="5155098"/>
              <a:ext cx="1215575" cy="1383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8" name="Google Shape;230;g370fc456c4b_0_4">
              <a:extLst>
                <a:ext uri="{FF2B5EF4-FFF2-40B4-BE49-F238E27FC236}">
                  <a16:creationId xmlns:a16="http://schemas.microsoft.com/office/drawing/2014/main" id="{6D5E8582-1BBB-F3E9-0F1E-9126749A9691}"/>
                </a:ext>
              </a:extLst>
            </p:cNvPr>
            <p:cNvCxnSpPr>
              <a:cxnSpLocks/>
              <a:endCxn id="37" idx="1"/>
            </p:cNvCxnSpPr>
            <p:nvPr/>
          </p:nvCxnSpPr>
          <p:spPr>
            <a:xfrm flipV="1">
              <a:off x="2754151" y="5224255"/>
              <a:ext cx="760325" cy="10193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12480514-CF5C-6475-3725-BDA4B0D2EBA9}"/>
                </a:ext>
              </a:extLst>
            </p:cNvPr>
            <p:cNvSpPr/>
            <p:nvPr/>
          </p:nvSpPr>
          <p:spPr>
            <a:xfrm>
              <a:off x="1602433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Google Shape;225;g370fc456c4b_0_4">
              <a:extLst>
                <a:ext uri="{FF2B5EF4-FFF2-40B4-BE49-F238E27FC236}">
                  <a16:creationId xmlns:a16="http://schemas.microsoft.com/office/drawing/2014/main" id="{F39843C7-5C6D-A725-9463-8054BE691C31}"/>
                </a:ext>
              </a:extLst>
            </p:cNvPr>
            <p:cNvSpPr txBox="1"/>
            <p:nvPr/>
          </p:nvSpPr>
          <p:spPr>
            <a:xfrm>
              <a:off x="1618657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268BA70-523B-0D7B-13C5-53942D22BD4C}"/>
              </a:ext>
            </a:extLst>
          </p:cNvPr>
          <p:cNvGrpSpPr/>
          <p:nvPr/>
        </p:nvGrpSpPr>
        <p:grpSpPr>
          <a:xfrm>
            <a:off x="1090549" y="5535815"/>
            <a:ext cx="2247673" cy="355118"/>
            <a:chOff x="1689777" y="5071451"/>
            <a:chExt cx="2247673" cy="355118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F2747F17-E796-E962-2683-40C597CDA751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BFCC78FE-8DE9-6D7D-DF64-6483AEC84A56}"/>
                </a:ext>
              </a:extLst>
            </p:cNvPr>
            <p:cNvCxnSpPr>
              <a:cxnSpLocks/>
              <a:endCxn id="46" idx="1"/>
            </p:cNvCxnSpPr>
            <p:nvPr/>
          </p:nvCxnSpPr>
          <p:spPr>
            <a:xfrm>
              <a:off x="2790028" y="5262898"/>
              <a:ext cx="72445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C8675FF0-8F2E-5285-54FA-0B980D1A9F80}"/>
                </a:ext>
              </a:extLst>
            </p:cNvPr>
            <p:cNvSpPr/>
            <p:nvPr/>
          </p:nvSpPr>
          <p:spPr>
            <a:xfrm>
              <a:off x="1689777" y="5121267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9" name="Google Shape;225;g370fc456c4b_0_4">
              <a:extLst>
                <a:ext uri="{FF2B5EF4-FFF2-40B4-BE49-F238E27FC236}">
                  <a16:creationId xmlns:a16="http://schemas.microsoft.com/office/drawing/2014/main" id="{3066B995-5DA8-D945-597A-CF37A6BFEDD5}"/>
                </a:ext>
              </a:extLst>
            </p:cNvPr>
            <p:cNvSpPr txBox="1"/>
            <p:nvPr/>
          </p:nvSpPr>
          <p:spPr>
            <a:xfrm>
              <a:off x="1706001" y="5071451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2C0EE9C-AD9C-4AFC-41F1-DADD9115DEF4}"/>
              </a:ext>
            </a:extLst>
          </p:cNvPr>
          <p:cNvGrpSpPr/>
          <p:nvPr/>
        </p:nvGrpSpPr>
        <p:grpSpPr>
          <a:xfrm>
            <a:off x="3391231" y="5505241"/>
            <a:ext cx="1790375" cy="355118"/>
            <a:chOff x="3485621" y="5041066"/>
            <a:chExt cx="1790375" cy="355118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114ABA63-FAF4-F120-4D4A-C2FD9AE9F0D8}"/>
                </a:ext>
              </a:extLst>
            </p:cNvPr>
            <p:cNvSpPr/>
            <p:nvPr/>
          </p:nvSpPr>
          <p:spPr>
            <a:xfrm>
              <a:off x="3485621" y="5174756"/>
              <a:ext cx="49416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2EE2D7CF-122B-9761-730D-DA861BD8F5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E44C1AE-EBCC-9BA5-E98E-35A7BAC6A1AF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Google Shape;225;g370fc456c4b_0_4">
              <a:extLst>
                <a:ext uri="{FF2B5EF4-FFF2-40B4-BE49-F238E27FC236}">
                  <a16:creationId xmlns:a16="http://schemas.microsoft.com/office/drawing/2014/main" id="{25112BE7-40EF-CC88-39E9-FC0E0F1FA345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1987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06</TotalTime>
  <Words>2016</Words>
  <Application>Microsoft Office PowerPoint</Application>
  <PresentationFormat>Widescreen</PresentationFormat>
  <Paragraphs>296</Paragraphs>
  <Slides>21</Slides>
  <Notes>18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FUNCTIONS IN THE TRELLO SYSTEM</vt:lpstr>
      <vt:lpstr>Agenda</vt:lpstr>
      <vt:lpstr>Introduction</vt:lpstr>
      <vt:lpstr>Key Functionalities </vt:lpstr>
      <vt:lpstr>BOARDS TAB IN TRELLO SYSTEM</vt:lpstr>
      <vt:lpstr>WORKSPACE IN TRELLO SYSTEM</vt:lpstr>
      <vt:lpstr>TEMPLATE TAB IN TRELLO SYSTEM</vt:lpstr>
      <vt:lpstr>TEMPLATE TAB IN TRELLO SYSTEM</vt:lpstr>
      <vt:lpstr>TEMPLATE TAB IN TRELLO SYSTEM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36</cp:revision>
  <dcterms:created xsi:type="dcterms:W3CDTF">2025-07-10T03:51:23Z</dcterms:created>
  <dcterms:modified xsi:type="dcterms:W3CDTF">2025-08-07T18:58:44Z</dcterms:modified>
</cp:coreProperties>
</file>